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1" d="100"/>
          <a:sy n="111" d="100"/>
        </p:scale>
        <p:origin x="636" y="7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2/16/2024</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2/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176844631"/>
              </p:ext>
            </p:extLst>
          </p:nvPr>
        </p:nvGraphicFramePr>
        <p:xfrm>
          <a:off x="2279575" y="3459162"/>
          <a:ext cx="7632847" cy="2131695"/>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417189">
                <a:tc>
                  <a:txBody>
                    <a:bodyPr/>
                    <a:lstStyle/>
                    <a:p>
                      <a:pPr>
                        <a:lnSpc>
                          <a:spcPct val="115000"/>
                        </a:lnSpc>
                        <a:spcAft>
                          <a:spcPts val="0"/>
                        </a:spcAft>
                      </a:pPr>
                      <a:r>
                        <a:rPr lang="fr-FR" sz="1000" dirty="0">
                          <a:latin typeface="+mn-lt"/>
                        </a:rPr>
                        <a:t>Criticality</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latin typeface="+mn-lt"/>
                        </a:rPr>
                        <a:t>Weight</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Grad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echnical Criteria</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Rule 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 Violations</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a:latin typeface="+mn-lt"/>
                        </a:rPr>
                        <a:t>Total</a:t>
                      </a:r>
                      <a:endParaRPr lang="fr-FR" sz="1000" dirty="0">
                        <a:latin typeface="+mn-lt"/>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latin typeface="+mn-lt"/>
                        </a:rPr>
                        <a:t>Y</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latin typeface="+mn-lt"/>
                        </a:rPr>
                        <a:t>0</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latin typeface="+mn-lt"/>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kern="1200" dirty="0">
                          <a:solidFill>
                            <a:schemeClr val="dk1"/>
                          </a:solidFill>
                          <a:latin typeface="+mn-lt"/>
                          <a:ea typeface="+mn-ea"/>
                          <a:cs typeface="+mn-cs"/>
                        </a:rPr>
                        <a: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latin typeface="+mn-lt"/>
                        </a:rPr>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latin typeface="+mn-lt"/>
                        </a:rPr>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latin typeface="+mn-lt"/>
                        </a:rPr>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latin typeface="+mn-lt"/>
                        </a:rPr>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24649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r>
                <a:rPr lang="fr-FR" sz="1100" i="0" dirty="0"/>
                <a:t>ZERO=YES|NO to display the </a:t>
              </a:r>
              <a:r>
                <a:rPr lang="fr-FR" sz="1100" i="0" dirty="0" err="1"/>
                <a:t>function</a:t>
              </a:r>
              <a:r>
                <a:rPr lang="fr-FR" sz="1100" i="0" dirty="0"/>
                <a:t> </a:t>
              </a:r>
              <a:r>
                <a:rPr lang="fr-FR" sz="1100" i="0" dirty="0" err="1"/>
                <a:t>with</a:t>
              </a:r>
              <a:r>
                <a:rPr lang="fr-FR" sz="1100" i="0" dirty="0"/>
                <a:t> 0 AFP (yes by default)</a:t>
              </a:r>
            </a:p>
            <a:p>
              <a:pPr marL="171450" indent="-171450">
                <a:buFont typeface="Arial" panose="020B0604020202020204" pitchFamily="34" charset="0"/>
                <a:buChar char="•"/>
              </a:pPr>
              <a:endParaRPr lang="fr-FR" sz="1100" i="0" dirty="0"/>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3015565"/>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981445"/>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5432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r>
                <a:rPr lang="en-US" sz="900" b="1" dirty="0"/>
                <a:t>NOVIOLATIONS</a:t>
              </a:r>
              <a:r>
                <a:rPr lang="en-US" sz="900" dirty="0"/>
                <a:t>=</a:t>
              </a:r>
              <a:r>
                <a:rPr lang="en-US" sz="900" dirty="0" err="1"/>
                <a:t>true|false</a:t>
              </a:r>
              <a:r>
                <a:rPr lang="en-US" sz="900" dirty="0"/>
                <a:t> to not display rules and TC that do not have violations. By default if option is not present or different from false, it will be true (we display everything)</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a:t>To use this component, the following extensions should be installed : Quality standards mapping extension &gt;= 20240212.0.0-funcrel;CISQ index extension &gt;= 20240201.0.0-funcrel;ISO-5055 index extension &gt;= 20240202;Security Standards extension &gt;= 20240209.0.0-funcrel.</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910</Words>
  <Application>Microsoft Office PowerPoint</Application>
  <PresentationFormat>Widescreen</PresentationFormat>
  <Paragraphs>2412</Paragraphs>
  <Slides>87</Slides>
  <Notes>4</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7</vt:i4>
      </vt:variant>
    </vt:vector>
  </HeadingPairs>
  <TitlesOfParts>
    <vt:vector size="101" baseType="lpstr">
      <vt:lpstr>Arial</vt:lpstr>
      <vt:lpstr>Bahnschrift Light</vt:lpstr>
      <vt:lpstr>Calibri</vt:lpstr>
      <vt:lpstr>Corbel</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79</cp:revision>
  <dcterms:created xsi:type="dcterms:W3CDTF">2016-10-16T15:51:34Z</dcterms:created>
  <dcterms:modified xsi:type="dcterms:W3CDTF">2024-02-16T10:51:01Z</dcterms:modified>
</cp:coreProperties>
</file>